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6"/>
  </p:notesMasterIdLst>
  <p:handoutMasterIdLst>
    <p:handoutMasterId r:id="rId67"/>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1" r:id="rId51"/>
    <p:sldId id="422" r:id="rId52"/>
    <p:sldId id="423" r:id="rId53"/>
    <p:sldId id="428" r:id="rId54"/>
    <p:sldId id="442" r:id="rId55"/>
    <p:sldId id="430" r:id="rId56"/>
    <p:sldId id="431" r:id="rId57"/>
    <p:sldId id="432" r:id="rId58"/>
    <p:sldId id="433" r:id="rId59"/>
    <p:sldId id="434" r:id="rId60"/>
    <p:sldId id="435" r:id="rId61"/>
    <p:sldId id="436" r:id="rId62"/>
    <p:sldId id="437" r:id="rId63"/>
    <p:sldId id="438" r:id="rId64"/>
    <p:sldId id="439" r:id="rId6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1"/>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6581" autoAdjust="0"/>
  </p:normalViewPr>
  <p:slideViewPr>
    <p:cSldViewPr snapToGrid="0">
      <p:cViewPr varScale="1">
        <p:scale>
          <a:sx n="77" d="100"/>
          <a:sy n="77" d="100"/>
        </p:scale>
        <p:origin x="548" y="60"/>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Mishal" userId="399b58bf3390cc80" providerId="LiveId" clId="{954825FB-F67B-4478-B757-34B564997EB0}"/>
    <pc:docChg chg="modSld">
      <pc:chgData name="Michael Mishal" userId="399b58bf3390cc80" providerId="LiveId" clId="{954825FB-F67B-4478-B757-34B564997EB0}" dt="2018-06-15T12:32:23.562" v="1"/>
      <pc:docMkLst>
        <pc:docMk/>
      </pc:docMkLst>
      <pc:sldChg chg="modSp">
        <pc:chgData name="Michael Mishal" userId="399b58bf3390cc80" providerId="LiveId" clId="{954825FB-F67B-4478-B757-34B564997EB0}" dt="2018-06-15T12:32:10.073" v="0" actId="20577"/>
        <pc:sldMkLst>
          <pc:docMk/>
          <pc:sldMk cId="309376433" sldId="438"/>
        </pc:sldMkLst>
        <pc:spChg chg="mod">
          <ac:chgData name="Michael Mishal" userId="399b58bf3390cc80" providerId="LiveId" clId="{954825FB-F67B-4478-B757-34B564997EB0}" dt="2018-06-15T12:32:10.073" v="0" actId="20577"/>
          <ac:spMkLst>
            <pc:docMk/>
            <pc:sldMk cId="309376433" sldId="438"/>
            <ac:spMk id="2" creationId="{FDCFBAD6-11BB-42F6-B567-798198A7CD0A}"/>
          </ac:spMkLst>
        </pc:spChg>
      </pc:sldChg>
      <pc:sldChg chg="modSp">
        <pc:chgData name="Michael Mishal" userId="399b58bf3390cc80" providerId="LiveId" clId="{954825FB-F67B-4478-B757-34B564997EB0}" dt="2018-06-15T12:32:23.562" v="1"/>
        <pc:sldMkLst>
          <pc:docMk/>
          <pc:sldMk cId="3320745949" sldId="439"/>
        </pc:sldMkLst>
        <pc:spChg chg="mod">
          <ac:chgData name="Michael Mishal" userId="399b58bf3390cc80" providerId="LiveId" clId="{954825FB-F67B-4478-B757-34B564997EB0}" dt="2018-06-15T12:32:23.562" v="1"/>
          <ac:spMkLst>
            <pc:docMk/>
            <pc:sldMk cId="3320745949" sldId="439"/>
            <ac:spMk id="2" creationId="{846D7261-BC9F-45A2-96C9-5373E56AEBE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2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4-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2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7/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5"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7/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27/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56.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mailto:mmishal@directionstraining.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mailto:swold@microsoft.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tinyurl.com/"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mmishal@directionstraining.com</a:t>
            </a:r>
            <a:endParaRPr lang="en-US" dirty="0"/>
          </a:p>
          <a:p>
            <a:r>
              <a:rPr lang="en-US" dirty="0">
                <a:hlinkClick r:id="rId4"/>
              </a:rPr>
              <a:t>swold@microsoft.com</a:t>
            </a:r>
            <a:endParaRPr lang="en-US" dirty="0"/>
          </a:p>
          <a:p>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1" y="4361365"/>
            <a:ext cx="6273418" cy="1794661"/>
          </a:xfrm>
        </p:spPr>
        <p:txBody>
          <a:bodyPr/>
          <a:lstStyle/>
          <a:p>
            <a:pPr lvl="0"/>
            <a:r>
              <a:rPr lang="en-US" dirty="0"/>
              <a:t>URL: </a:t>
            </a:r>
            <a:r>
              <a:rPr lang="en-US" u="sng" dirty="0">
                <a:hlinkClick r:id="rId3"/>
              </a:rPr>
              <a:t>https://tinyurl.</a:t>
            </a:r>
            <a:r>
              <a:rPr lang="en-US" u="sng">
                <a:hlinkClick r:id="rId3"/>
              </a:rPr>
              <a:t>com/</a:t>
            </a:r>
            <a:r>
              <a:rPr lang="en-US" u="sng"/>
              <a:t>535CA626</a:t>
            </a:r>
            <a:endParaRPr lang="en-US" dirty="0"/>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49</TotalTime>
  <Words>1106</Words>
  <Application>Microsoft Office PowerPoint</Application>
  <PresentationFormat>Widescreen</PresentationFormat>
  <Paragraphs>213</Paragraphs>
  <Slides>31</Slides>
  <Notes>30</Notes>
  <HiddenSlides>0</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1</vt:i4>
      </vt:variant>
    </vt:vector>
  </HeadingPairs>
  <TitlesOfParts>
    <vt:vector size="81"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8</cp:revision>
  <dcterms:created xsi:type="dcterms:W3CDTF">2015-09-15T13:10:44Z</dcterms:created>
  <dcterms:modified xsi:type="dcterms:W3CDTF">2018-06-27T21:1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